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62" r:id="rId2"/>
    <p:sldId id="257" r:id="rId3"/>
    <p:sldId id="289" r:id="rId4"/>
    <p:sldId id="290" r:id="rId5"/>
    <p:sldId id="291" r:id="rId6"/>
    <p:sldId id="280" r:id="rId7"/>
    <p:sldId id="266" r:id="rId8"/>
    <p:sldId id="256" r:id="rId9"/>
    <p:sldId id="259" r:id="rId10"/>
    <p:sldId id="261" r:id="rId11"/>
    <p:sldId id="277" r:id="rId12"/>
    <p:sldId id="270" r:id="rId13"/>
    <p:sldId id="274" r:id="rId14"/>
    <p:sldId id="282" r:id="rId15"/>
    <p:sldId id="275" r:id="rId16"/>
    <p:sldId id="276" r:id="rId17"/>
    <p:sldId id="283" r:id="rId18"/>
    <p:sldId id="278" r:id="rId19"/>
    <p:sldId id="284" r:id="rId20"/>
    <p:sldId id="285" r:id="rId21"/>
    <p:sldId id="286" r:id="rId22"/>
    <p:sldId id="265" r:id="rId23"/>
  </p:sldIdLst>
  <p:sldSz cx="12192000" cy="6858000"/>
  <p:notesSz cx="6858000" cy="9144000"/>
  <p:custDataLst>
    <p:tags r:id="rId2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D80A"/>
    <a:srgbClr val="66C7BF"/>
    <a:srgbClr val="F28FBB"/>
    <a:srgbClr val="FADD0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67" autoAdjust="0"/>
    <p:restoredTop sz="85546" autoAdjust="0"/>
  </p:normalViewPr>
  <p:slideViewPr>
    <p:cSldViewPr snapToGrid="0" showGuides="1">
      <p:cViewPr varScale="1">
        <p:scale>
          <a:sx n="50" d="100"/>
          <a:sy n="50" d="100"/>
        </p:scale>
        <p:origin x="53" y="9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CB6BE1-51FA-49CB-914A-DEDD5E2D4C10}" type="datetimeFigureOut">
              <a:rPr lang="pt-PT" smtClean="0"/>
              <a:t>09/11/2019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C5F9F1-9B7E-4441-B133-ABBEF569066C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17636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O:</a:t>
            </a:r>
          </a:p>
          <a:p>
            <a:r>
              <a:rPr lang="en-US" dirty="0"/>
              <a:t>-</a:t>
            </a:r>
          </a:p>
          <a:p>
            <a:r>
              <a:rPr lang="en-US" dirty="0"/>
              <a:t>-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ep feeling of dispossession and rupture of personal and social relationships, perceived as negative and deprived of any expectation to be overcome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It can occur either in isolation situations or in other people’s environmen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C5F9F1-9B7E-4441-B133-ABBEF569066C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83357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O:</a:t>
            </a:r>
          </a:p>
          <a:p>
            <a:r>
              <a:rPr lang="en-US" dirty="0"/>
              <a:t>-</a:t>
            </a:r>
          </a:p>
          <a:p>
            <a:r>
              <a:rPr lang="en-US" dirty="0"/>
              <a:t>-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ep feeling of dispossession and rupture of personal and social relationships, perceived as negative and deprived of any expectation to be overcome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It can occur either in isolation situations or in other people’s environmen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C5F9F1-9B7E-4441-B133-ABBEF569066C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01676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C5F9F1-9B7E-4441-B133-ABBEF569066C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08852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56B8C-4C20-4F22-83C4-3F82D427B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0DC885-3A66-456D-A841-0A238FAD6D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6A80F7B-38B5-4CD1-A9E1-A6903B8EE5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6231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10A71-AF39-4A21-88E2-AAD3D85F6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0C93C-6644-44A9-A946-C662DB0C3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3799D-90DE-4D6D-B54C-168F4FDD92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07722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23ECF-5AB1-4FE4-A4B7-535DE8ACB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3F9F17-2A0D-4DFD-8276-3785FEF51A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D60655-77A0-4199-924C-549377B66B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582480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8F50D-A28C-4910-9C11-101B8F531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A44110-E946-4302-95D4-AF4F183F81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BA44E8-0D89-45E7-8219-073778A359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79F49B-879E-48C0-94CF-A5D5DE229A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33701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CBC89-801E-4546-BCAB-391F52E16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2BAE08-9A5F-480E-A4E4-7734124F88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E4374C-7C68-438E-B036-F4FA362303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96FE70-F564-48BE-9293-80EC4872B8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0DC411-59E6-4DF4-9A9D-C78F67558E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E33CB5C-66AF-490E-86BD-1C36567893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2892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A6E35-AD26-4ADE-8CC4-C4D8E7AF1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D6145-5270-4DB0-A355-F321E27C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13619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DCFE20-A064-4F8D-9ED9-20631E5C02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3531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DA9B6B-BF88-4EBA-9D9F-3DC6AD629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8C66A3-9CCE-4E2B-B159-8A85D6FD51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850D2F-678A-4D82-8FBF-714A028C2C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C57FBB3-4101-44A2-B1A5-7673DC45BE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8071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A5F8E-B6C2-4523-A243-5EDC1C6D0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0135D9-C71C-4234-867A-33FA4C19A7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6587D6-1C28-41EE-9588-0C12C3208D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B0C6557-5F80-4CA0-A118-BA8EE5FDA9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59067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F2374D4-0181-40B6-B660-E7A1476AD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29562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4" imgW="499" imgH="499" progId="TCLayout.ActiveDocument.1">
                  <p:embed/>
                </p:oleObj>
              </mc:Choice>
              <mc:Fallback>
                <p:oleObj name="think-cell Slide" r:id="rId1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0D8BB2-3DE4-44B8-822D-0926C8FAD2D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EC3C74-8CB2-48F8-8CAD-15E43F5FBD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141243-DE89-4664-BC7B-884ADAEC1B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E971E2-A275-4201-8385-877170FFD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92875"/>
            <a:ext cx="40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62E9D5-D294-4D8D-8AEA-0921797D1B1E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94490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BEF65B8-CEF3-1C49-A748-36A323C692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44" y="1775636"/>
            <a:ext cx="10377281" cy="35088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0A3388-9365-48D1-8D4B-615C09CF77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</a:t>
            </a:fld>
            <a:endParaRPr lang="pt-P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DF6EC0-AF42-4A15-AD61-361F30BE89F4}"/>
              </a:ext>
            </a:extLst>
          </p:cNvPr>
          <p:cNvSpPr txBox="1"/>
          <p:nvPr/>
        </p:nvSpPr>
        <p:spPr>
          <a:xfrm>
            <a:off x="6385047" y="4829868"/>
            <a:ext cx="48431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ULDATA</a:t>
            </a:r>
            <a:endParaRPr lang="en-US" sz="3200" b="1" dirty="0">
              <a:solidFill>
                <a:schemeClr val="tx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4083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EB123C3-5519-D946-BADC-6F5D31E13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3662" y="-2325857"/>
            <a:ext cx="11435582" cy="69841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32DEF9-5903-1F4D-84ED-DFDFCA5CDB76}"/>
              </a:ext>
            </a:extLst>
          </p:cNvPr>
          <p:cNvSpPr txBox="1"/>
          <p:nvPr/>
        </p:nvSpPr>
        <p:spPr>
          <a:xfrm>
            <a:off x="-279513" y="4397185"/>
            <a:ext cx="48431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Finding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E9FA294-5F59-3040-AC9F-6101587599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00" y="359819"/>
            <a:ext cx="3429434" cy="4913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217D7E-3C78-4BC5-9A30-1259C98273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C25CEE-2629-455F-91B3-E22EB57801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27756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352443-E131-435D-A699-6D4F10A7D76B}"/>
              </a:ext>
            </a:extLst>
          </p:cNvPr>
          <p:cNvSpPr/>
          <p:nvPr/>
        </p:nvSpPr>
        <p:spPr>
          <a:xfrm>
            <a:off x="896645" y="2404399"/>
            <a:ext cx="10937289" cy="249299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d predictors: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nd of Telecom package (or lack thereof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ing the decision maker</a:t>
            </a:r>
          </a:p>
          <a:p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AutoShape 11">
            <a:extLst>
              <a:ext uri="{FF2B5EF4-FFF2-40B4-BE49-F238E27FC236}">
                <a16:creationId xmlns:a16="http://schemas.microsoft.com/office/drawing/2014/main" id="{D9F3E68B-A29F-5941-ABBA-8A7D0F9FE3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F28FBB"/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C0C67-F104-3C4D-BA8B-53339E0F1AD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P Features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854613D-1620-E440-B074-6FEA57EC6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5688" y="6418452"/>
            <a:ext cx="2029735" cy="27896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896196-D17B-E347-BB01-2628068E7B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57800"/>
            <a:ext cx="1864784" cy="2671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FDC779-DF14-4758-A325-3821C4B3FA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14030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801BDD-626D-4E18-B1FB-F3D256E263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801BDD-626D-4E18-B1FB-F3D256E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ECDBE6-42FD-4320-BB63-B3ED7188D6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2</a:t>
            </a:fld>
            <a:endParaRPr lang="pt-PT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2CD6B63C-3994-4D86-B206-ECB81E03B6DF}"/>
              </a:ext>
            </a:extLst>
          </p:cNvPr>
          <p:cNvSpPr/>
          <p:nvPr/>
        </p:nvSpPr>
        <p:spPr>
          <a:xfrm rot="16200000">
            <a:off x="7990491" y="2656489"/>
            <a:ext cx="6773916" cy="1629104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764D02-F02B-B542-B369-7042325FEB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006716">
            <a:off x="-2949522" y="-2207142"/>
            <a:ext cx="8015089" cy="1001886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30AA1B-61AB-2444-9027-A39ACACB067C}"/>
              </a:ext>
            </a:extLst>
          </p:cNvPr>
          <p:cNvSpPr txBox="1"/>
          <p:nvPr/>
        </p:nvSpPr>
        <p:spPr>
          <a:xfrm>
            <a:off x="6669034" y="5070363"/>
            <a:ext cx="48431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ographically speak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3731D9-12F7-CF4F-8D33-3E0A411D8D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4556" y="359819"/>
            <a:ext cx="3429434" cy="4913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035C7D-D2CF-4C79-B275-284BDF9AB7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500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11">
            <a:extLst>
              <a:ext uri="{FF2B5EF4-FFF2-40B4-BE49-F238E27FC236}">
                <a16:creationId xmlns:a16="http://schemas.microsoft.com/office/drawing/2014/main" id="{D9F3E68B-A29F-5941-ABBA-8A7D0F9FE3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F28FBB"/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BC780-A49C-FF48-BC7A-44454755D918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endParaRPr lang="en-US" sz="1800" spc="2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C0C67-F104-3C4D-BA8B-53339E0F1AD8}"/>
              </a:ext>
            </a:extLst>
          </p:cNvPr>
          <p:cNvSpPr txBox="1"/>
          <p:nvPr/>
        </p:nvSpPr>
        <p:spPr>
          <a:xfrm>
            <a:off x="2429081" y="813601"/>
            <a:ext cx="79612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ated people per Parish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854613D-1620-E440-B074-6FEA57EC6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5688" y="6418452"/>
            <a:ext cx="2029735" cy="27896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896196-D17B-E347-BB01-2628068E7B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57800"/>
            <a:ext cx="1864784" cy="2671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FDC779-DF14-4758-A325-3821C4B3FA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3</a:t>
            </a:fld>
            <a:endParaRPr lang="pt-PT"/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E4750A10-3CD9-4A8B-A5CE-41A2FD765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685" y="1498320"/>
            <a:ext cx="3362325" cy="499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824FA8-0771-41BF-8C05-A59116C45A9C}"/>
              </a:ext>
            </a:extLst>
          </p:cNvPr>
          <p:cNvSpPr txBox="1"/>
          <p:nvPr/>
        </p:nvSpPr>
        <p:spPr>
          <a:xfrm>
            <a:off x="7503103" y="2942923"/>
            <a:ext cx="4061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rban Centers: Full with loners!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D23178-6F6E-4482-AE95-D0FBD4184477}"/>
              </a:ext>
            </a:extLst>
          </p:cNvPr>
          <p:cNvSpPr txBox="1"/>
          <p:nvPr/>
        </p:nvSpPr>
        <p:spPr>
          <a:xfrm>
            <a:off x="7503104" y="3624538"/>
            <a:ext cx="4581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ral Areas: Could be insufficent data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89781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A343A54-F382-E34F-8B2F-E181980AD61D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endParaRPr lang="en-US" sz="1800" spc="2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criptive Challe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1443024" y="2404399"/>
            <a:ext cx="10141317" cy="212365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acterize options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plification and Heuristic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ments</a:t>
            </a:r>
          </a:p>
          <a:p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19840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A343A54-F382-E34F-8B2F-E181980AD61D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r>
              <a:rPr lang="pt-PT" sz="1800" spc="200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st option</a:t>
            </a:r>
            <a:endParaRPr lang="en-US" sz="1800" spc="2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criptive Challe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1428574" y="2296060"/>
            <a:ext cx="10141317" cy="16312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or to Door</a:t>
            </a:r>
          </a:p>
          <a:p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 per patient per month</a:t>
            </a:r>
          </a:p>
          <a:p>
            <a:r>
              <a:rPr lang="en-US" sz="16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fixed monthly costs, serving a given number of people)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5</a:t>
            </a:fld>
            <a:endParaRPr lang="pt-PT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03ED1D-3D57-4B15-8FEB-6185B94FCF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886505"/>
              </p:ext>
            </p:extLst>
          </p:nvPr>
        </p:nvGraphicFramePr>
        <p:xfrm>
          <a:off x="2031998" y="3645838"/>
          <a:ext cx="8128000" cy="2468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450898048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1387303539"/>
                    </a:ext>
                  </a:extLst>
                </a:gridCol>
              </a:tblGrid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100 Visits per week </a:t>
                      </a:r>
                    </a:p>
                    <a:p>
                      <a:pPr algn="ctr"/>
                      <a:r>
                        <a:rPr lang="pt-PT" sz="2400" dirty="0"/>
                        <a:t>(30km diameter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75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521171"/>
                  </a:ext>
                </a:extLst>
              </a:tr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75 Visits per week</a:t>
                      </a:r>
                    </a:p>
                    <a:p>
                      <a:pPr algn="ctr"/>
                      <a:r>
                        <a:rPr lang="en-US" sz="2400" dirty="0"/>
                        <a:t>(40km diamet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110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37876"/>
                  </a:ext>
                </a:extLst>
              </a:tr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50 Visits per week</a:t>
                      </a:r>
                    </a:p>
                    <a:p>
                      <a:pPr algn="ctr"/>
                      <a:r>
                        <a:rPr lang="pt-PT" sz="2400" dirty="0"/>
                        <a:t>(50km diameter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180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4836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0013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A343A54-F382-E34F-8B2F-E181980AD61D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r>
              <a:rPr lang="pt-PT" sz="1800" spc="200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nd option</a:t>
            </a:r>
            <a:endParaRPr lang="en-US" sz="1800" spc="2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criptive Challe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1428574" y="2296060"/>
            <a:ext cx="10141317" cy="16312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l center + Video conference</a:t>
            </a:r>
          </a:p>
          <a:p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 per patient per month</a:t>
            </a:r>
          </a:p>
          <a:p>
            <a:r>
              <a:rPr lang="en-US" sz="16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ost is split between workers salary, facilities and camera)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6</a:t>
            </a:fld>
            <a:endParaRPr lang="pt-PT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03ED1D-3D57-4B15-8FEB-6185B94FCF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720181"/>
              </p:ext>
            </p:extLst>
          </p:nvPr>
        </p:nvGraphicFramePr>
        <p:xfrm>
          <a:off x="2031998" y="3645838"/>
          <a:ext cx="8128000" cy="2468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450898048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1387303539"/>
                    </a:ext>
                  </a:extLst>
                </a:gridCol>
              </a:tblGrid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20 call assistants </a:t>
                      </a:r>
                    </a:p>
                    <a:p>
                      <a:pPr algn="ctr"/>
                      <a:r>
                        <a:rPr lang="en-US" sz="2400" dirty="0"/>
                        <a:t>(50 calls per week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92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521171"/>
                  </a:ext>
                </a:extLst>
              </a:tr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0 call assistant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(50 calls per wee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90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37876"/>
                  </a:ext>
                </a:extLst>
              </a:tr>
              <a:tr h="794274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500 call assistants</a:t>
                      </a:r>
                    </a:p>
                    <a:p>
                      <a:pPr algn="ctr"/>
                      <a:r>
                        <a:rPr lang="pt-PT" sz="2400" dirty="0"/>
                        <a:t>(50 calls per week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89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4836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7087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A343A54-F382-E34F-8B2F-E181980AD61D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r>
              <a:rPr lang="pt-PT" sz="1800" spc="200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rd option</a:t>
            </a:r>
            <a:endParaRPr lang="en-US" sz="1800" spc="200" dirty="0">
              <a:solidFill>
                <a:schemeClr val="accent3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criptive Challe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1428574" y="2296060"/>
            <a:ext cx="10141317" cy="16312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lf day center + Video conference</a:t>
            </a:r>
          </a:p>
          <a:p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 per patient per month</a:t>
            </a:r>
          </a:p>
          <a:p>
            <a:r>
              <a:rPr lang="en-US" sz="16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ost for half day facilities, call center facilities, salaries, cameras and travelling)</a:t>
            </a:r>
          </a:p>
          <a:p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7</a:t>
            </a:fld>
            <a:endParaRPr lang="pt-PT"/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50A4629C-C537-4EF9-90E7-BD4D1B95A6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1306505"/>
              </p:ext>
            </p:extLst>
          </p:nvPr>
        </p:nvGraphicFramePr>
        <p:xfrm>
          <a:off x="2031998" y="3790734"/>
          <a:ext cx="8128000" cy="210337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223192756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789803676"/>
                    </a:ext>
                  </a:extLst>
                </a:gridCol>
              </a:tblGrid>
              <a:tr h="712382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600 half-day activities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63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641535"/>
                  </a:ext>
                </a:extLst>
              </a:tr>
              <a:tr h="803389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900 half-day activities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62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660799"/>
                  </a:ext>
                </a:extLst>
              </a:tr>
              <a:tr h="587599"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1200 half-day activites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2400" dirty="0"/>
                        <a:t>~61 euro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0268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6588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E323D4-330E-4672-97EF-2CE246364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E323D4-330E-4672-97EF-2CE246364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590013-143F-46BA-9000-8B83DE5359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8</a:t>
            </a:fld>
            <a:endParaRPr lang="pt-PT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EE9BA78-58B0-514F-A1DB-564C8DF7A6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29119" y="-1960031"/>
            <a:ext cx="6621575" cy="1191883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B4F766E-68A5-844E-9DE2-896AA190D4F2}"/>
              </a:ext>
            </a:extLst>
          </p:cNvPr>
          <p:cNvSpPr txBox="1"/>
          <p:nvPr/>
        </p:nvSpPr>
        <p:spPr>
          <a:xfrm>
            <a:off x="6385047" y="4000930"/>
            <a:ext cx="48431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F54B31B-F800-AD46-9067-2257432D09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4556" y="359819"/>
            <a:ext cx="3429434" cy="4913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32A498-8DDE-4E30-9399-FEDBAB5DD7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2861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11">
            <a:extLst>
              <a:ext uri="{FF2B5EF4-FFF2-40B4-BE49-F238E27FC236}">
                <a16:creationId xmlns:a16="http://schemas.microsoft.com/office/drawing/2014/main" id="{CB3DB9EC-0885-5345-BC34-170BE4D7BD7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FADD0B"/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E56E008-4AC2-FF4A-901C-9A0E8BF8E9B8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r>
              <a:rPr lang="en-US" sz="1800" spc="200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ize cos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F91BB8-65D6-3E4E-97CC-DFD072F93063}"/>
              </a:ext>
            </a:extLst>
          </p:cNvPr>
          <p:cNvSpPr txBox="1"/>
          <p:nvPr/>
        </p:nvSpPr>
        <p:spPr>
          <a:xfrm>
            <a:off x="1343537" y="956371"/>
            <a:ext cx="8049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DA3C400-63CD-254B-813B-599A2144F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5056" y="6535411"/>
            <a:ext cx="2029735" cy="2789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B9DC020-69B2-114B-8755-794634AB5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57800"/>
            <a:ext cx="1864784" cy="26719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EFFC01-B1C1-40E7-B590-1ACD77F4D5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19</a:t>
            </a:fld>
            <a:endParaRPr lang="pt-PT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CEC0FCF-1274-4884-B803-794667B26AEC}"/>
              </a:ext>
            </a:extLst>
          </p:cNvPr>
          <p:cNvSpPr txBox="1">
            <a:spLocks/>
          </p:cNvSpPr>
          <p:nvPr/>
        </p:nvSpPr>
        <p:spPr>
          <a:xfrm>
            <a:off x="1595424" y="4723269"/>
            <a:ext cx="8265648" cy="13923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pt-PT" sz="2400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al: </a:t>
            </a:r>
            <a:r>
              <a:rPr lang="pt-PT" sz="2400" b="0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oritize how the resources are spent and how can we have the highest beneficials</a:t>
            </a:r>
            <a:endParaRPr lang="en-US" sz="2400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D6BE219-93F8-47F4-90EF-8B45D66D3763}"/>
              </a:ext>
            </a:extLst>
          </p:cNvPr>
          <p:cNvSpPr txBox="1">
            <a:spLocks/>
          </p:cNvSpPr>
          <p:nvPr/>
        </p:nvSpPr>
        <p:spPr>
          <a:xfrm>
            <a:off x="1595424" y="2624103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endParaRPr lang="pt-PT" sz="2400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pt-PT" sz="2400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plification: </a:t>
            </a:r>
            <a:r>
              <a:rPr lang="pt-PT" sz="2400" b="0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ect which options we would use</a:t>
            </a:r>
            <a:endParaRPr lang="en-US" sz="2400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104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itu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2</a:t>
            </a:fld>
            <a:endParaRPr lang="pt-PT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B32D2C-EA41-4324-8A3E-DFA865368DDA}"/>
              </a:ext>
            </a:extLst>
          </p:cNvPr>
          <p:cNvSpPr/>
          <p:nvPr/>
        </p:nvSpPr>
        <p:spPr>
          <a:xfrm>
            <a:off x="406400" y="1972580"/>
            <a:ext cx="6096000" cy="36471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100" dirty="0">
                <a:solidFill>
                  <a:srgbClr val="222222"/>
                </a:solidFill>
                <a:latin typeface="-apple-system"/>
              </a:rPr>
              <a:t>Solitude is a state of seclusion or isolation, i.e., lack of contact with people. It may stem from:</a:t>
            </a:r>
            <a:br>
              <a:rPr lang="en-US" sz="2100" dirty="0">
                <a:solidFill>
                  <a:srgbClr val="222222"/>
                </a:solidFill>
                <a:latin typeface="-apple-system"/>
              </a:rPr>
            </a:br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 bad relationships &amp; loss of loved ones</a:t>
            </a:r>
          </a:p>
          <a:p>
            <a:pPr lvl="1"/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 deliberate choice</a:t>
            </a:r>
          </a:p>
          <a:p>
            <a:pPr lvl="1"/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 infectious disease &amp; mental disorders</a:t>
            </a:r>
          </a:p>
          <a:p>
            <a:pPr lvl="1"/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 neurological disorders or circumstances of employment or situation (migratory flows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C38712-CE81-4177-A3C8-00C8A49114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3880" y="653808"/>
            <a:ext cx="4821581" cy="396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7876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EB123C3-5519-D946-BADC-6F5D31E13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3662" y="-2325857"/>
            <a:ext cx="11435582" cy="698414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32DEF9-5903-1F4D-84ED-DFDFCA5CDB76}"/>
              </a:ext>
            </a:extLst>
          </p:cNvPr>
          <p:cNvSpPr txBox="1"/>
          <p:nvPr/>
        </p:nvSpPr>
        <p:spPr>
          <a:xfrm>
            <a:off x="822173" y="4365903"/>
            <a:ext cx="48431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ment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E9FA294-5F59-3040-AC9F-6101587599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00" y="359819"/>
            <a:ext cx="3429434" cy="4913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217D7E-3C78-4BC5-9A30-1259C98273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C25CEE-2629-455F-91B3-E22EB57801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2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85693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11">
            <a:extLst>
              <a:ext uri="{FF2B5EF4-FFF2-40B4-BE49-F238E27FC236}">
                <a16:creationId xmlns:a16="http://schemas.microsoft.com/office/drawing/2014/main" id="{D9F3E68B-A29F-5941-ABBA-8A7D0F9FE34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F28FBB"/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BC780-A49C-FF48-BC7A-44454755D918}"/>
              </a:ext>
            </a:extLst>
          </p:cNvPr>
          <p:cNvSpPr txBox="1">
            <a:spLocks/>
          </p:cNvSpPr>
          <p:nvPr/>
        </p:nvSpPr>
        <p:spPr>
          <a:xfrm>
            <a:off x="1443024" y="1498320"/>
            <a:ext cx="8265648" cy="37605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pPr algn="l"/>
            <a:r>
              <a:rPr lang="en-US" sz="1800" spc="200" dirty="0">
                <a:solidFill>
                  <a:schemeClr val="accent3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de door-to-door servi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C0C67-F104-3C4D-BA8B-53339E0F1AD8}"/>
              </a:ext>
            </a:extLst>
          </p:cNvPr>
          <p:cNvSpPr txBox="1"/>
          <p:nvPr/>
        </p:nvSpPr>
        <p:spPr>
          <a:xfrm>
            <a:off x="1694410" y="2686863"/>
            <a:ext cx="8474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sz="2400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irect the resourses in the best way, so that we can solve the major problems in our society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854613D-1620-E440-B074-6FEA57EC6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5688" y="6418452"/>
            <a:ext cx="2029735" cy="27896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896196-D17B-E347-BB01-2628068E7B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57800"/>
            <a:ext cx="1864784" cy="2671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FDC779-DF14-4758-A325-3821C4B3FA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21</a:t>
            </a:fld>
            <a:endParaRPr lang="pt-PT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7A2F07-AE92-4A81-8F7B-82ABD33C47D0}"/>
              </a:ext>
            </a:extLst>
          </p:cNvPr>
          <p:cNvSpPr txBox="1"/>
          <p:nvPr/>
        </p:nvSpPr>
        <p:spPr>
          <a:xfrm>
            <a:off x="1443024" y="1009863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ments</a:t>
            </a:r>
          </a:p>
        </p:txBody>
      </p:sp>
    </p:spTree>
    <p:extLst>
      <p:ext uri="{BB962C8B-B14F-4D97-AF65-F5344CB8AC3E}">
        <p14:creationId xmlns:p14="http://schemas.microsoft.com/office/powerpoint/2010/main" val="2915581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AD8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C8C7D3-F6D3-4453-B1D8-EBB7CB622B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73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25AC13-7D15-48E3-A44A-325945EDAA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22</a:t>
            </a:fld>
            <a:endParaRPr lang="pt-P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44EEAC-587C-7048-A6EB-1B06A1B293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95720" y="489098"/>
            <a:ext cx="8661397" cy="69945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131BE7-7422-4764-B2B9-DE1437DD07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5716" y="5933661"/>
            <a:ext cx="5789075" cy="795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098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nelin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5343787" y="5216073"/>
            <a:ext cx="10141317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tps://www.straitstimes.com/asia/east-asia/robots-perking-up-lives-of-the-lonely-elderly-across-japa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3</a:t>
            </a:fld>
            <a:endParaRPr lang="pt-P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B77354-93EC-4A8F-9B07-A3341FC736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3787" y="1619301"/>
            <a:ext cx="6358155" cy="34757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0A3E41-52E3-4F52-827B-719CC31AA8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535" y="5799710"/>
            <a:ext cx="5794927" cy="6506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6BB900-E49E-4E6C-9998-0037AA17E498}"/>
              </a:ext>
            </a:extLst>
          </p:cNvPr>
          <p:cNvSpPr/>
          <p:nvPr/>
        </p:nvSpPr>
        <p:spPr>
          <a:xfrm>
            <a:off x="350743" y="6427009"/>
            <a:ext cx="88652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tps://www.countypress.co.uk/news/18006920.lonely-new-isle-wight-community-connections-service-tackle-social-isolation/</a:t>
            </a:r>
          </a:p>
        </p:txBody>
      </p:sp>
    </p:spTree>
    <p:extLst>
      <p:ext uri="{BB962C8B-B14F-4D97-AF65-F5344CB8AC3E}">
        <p14:creationId xmlns:p14="http://schemas.microsoft.com/office/powerpoint/2010/main" val="538175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858606" y="3072347"/>
            <a:ext cx="10141317" cy="267765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Economic (can avoid to participate various activities in the public spher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Medical ( prejudices about diseases: HIV and </a:t>
            </a:r>
            <a:r>
              <a:rPr lang="en-US" sz="2100" dirty="0" err="1">
                <a:solidFill>
                  <a:srgbClr val="222222"/>
                </a:solidFill>
                <a:latin typeface="-apple-system"/>
              </a:rPr>
              <a:t>and</a:t>
            </a:r>
            <a:r>
              <a:rPr lang="en-US" sz="2100" dirty="0">
                <a:solidFill>
                  <a:srgbClr val="222222"/>
                </a:solidFill>
                <a:latin typeface="-apple-system"/>
              </a:rPr>
              <a:t> type of disability may end up moving away from certain social dynamic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Geographic Condition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4</a:t>
            </a:fld>
            <a:endParaRPr lang="pt-PT"/>
          </a:p>
        </p:txBody>
      </p:sp>
      <p:sp>
        <p:nvSpPr>
          <p:cNvPr id="5" name="AutoShape 2" descr="idosa">
            <a:extLst>
              <a:ext uri="{FF2B5EF4-FFF2-40B4-BE49-F238E27FC236}">
                <a16:creationId xmlns:a16="http://schemas.microsoft.com/office/drawing/2014/main" id="{75FE21C3-FC5B-404A-80C2-E2002A9906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57F0F5-940D-4F78-9EB2-F0E7B2DD41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469" t="-3257" b="-1"/>
          <a:stretch/>
        </p:blipFill>
        <p:spPr>
          <a:xfrm>
            <a:off x="5801710" y="524936"/>
            <a:ext cx="4183346" cy="2588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696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5</a:t>
            </a:fld>
            <a:endParaRPr lang="pt-P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406400" y="2832570"/>
            <a:ext cx="10166710" cy="304698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lvl="4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Volunteering can also be a great way to avoid social isolation: not only will you be tackling this problem of yours, but you will be helping those who need it most.</a:t>
            </a:r>
          </a:p>
          <a:p>
            <a:pPr marL="0" lvl="4"/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342900" lvl="4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Human contact that encourage living in society and celebrate the moments of life and moments of healthy living (religious approach for example)</a:t>
            </a:r>
          </a:p>
          <a:p>
            <a:pPr marL="0" lvl="4"/>
            <a:endParaRPr lang="en-US" sz="2100" dirty="0">
              <a:solidFill>
                <a:srgbClr val="222222"/>
              </a:solidFill>
              <a:latin typeface="-apple-system"/>
            </a:endParaRPr>
          </a:p>
          <a:p>
            <a:pPr marL="342900" lvl="4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222222"/>
                </a:solidFill>
                <a:latin typeface="-apple-system"/>
              </a:rPr>
              <a:t>Group activities (meetups), cultural sports, meeting common interests, work involving the human workforce and teamwork</a:t>
            </a:r>
          </a:p>
          <a:p>
            <a:pPr lvl="4"/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266" name="Picture 2" descr="Resultado de imagem para cuidar de idosos">
            <a:extLst>
              <a:ext uri="{FF2B5EF4-FFF2-40B4-BE49-F238E27FC236}">
                <a16:creationId xmlns:a16="http://schemas.microsoft.com/office/drawing/2014/main" id="{49F4AEAF-7090-4CB9-80A3-C037D914E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007" y="653809"/>
            <a:ext cx="3776221" cy="213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687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10042218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solve a problem we must first  </a:t>
            </a:r>
            <a:r>
              <a:rPr lang="en-US" sz="5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y</a:t>
            </a:r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6</a:t>
            </a:fld>
            <a:endParaRPr lang="pt-PT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0834DE-C6B7-4C2E-A2CF-208C698D2071}"/>
              </a:ext>
            </a:extLst>
          </p:cNvPr>
          <p:cNvSpPr/>
          <p:nvPr/>
        </p:nvSpPr>
        <p:spPr>
          <a:xfrm>
            <a:off x="1443024" y="2404399"/>
            <a:ext cx="10141317" cy="230832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o requires assistanc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kind of assistance can we provid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efficient can </a:t>
            </a:r>
            <a:r>
              <a:rPr lang="en-US" sz="240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 efficient?</a:t>
            </a:r>
            <a:endParaRPr lang="en-US" sz="24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550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>
            <a:extLst>
              <a:ext uri="{FF2B5EF4-FFF2-40B4-BE49-F238E27FC236}">
                <a16:creationId xmlns:a16="http://schemas.microsoft.com/office/drawing/2014/main" id="{08B8F689-31ED-492D-8739-6913C449FBA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4F60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89FB93-7DD3-FE4B-A59B-E7ACA7B327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28872"/>
            <a:ext cx="1864784" cy="2671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77B34C-89DC-4A42-9079-52B48C9E5D68}"/>
              </a:ext>
            </a:extLst>
          </p:cNvPr>
          <p:cNvSpPr txBox="1"/>
          <p:nvPr/>
        </p:nvSpPr>
        <p:spPr>
          <a:xfrm>
            <a:off x="1343537" y="956371"/>
            <a:ext cx="63676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loratory Data Analysi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D27F-1A18-4543-B505-FABDA9D95C63}"/>
              </a:ext>
            </a:extLst>
          </p:cNvPr>
          <p:cNvSpPr/>
          <p:nvPr/>
        </p:nvSpPr>
        <p:spPr>
          <a:xfrm>
            <a:off x="896645" y="2404399"/>
            <a:ext cx="10937289" cy="378565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Identification</a:t>
            </a:r>
          </a:p>
          <a:p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V and Phone usag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5 Variables -&gt; 1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stomer fix: high cardinality in some features (&gt;100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V: Too many missing data (~50%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 correlation between featu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le of thump: replace missing values with 0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verely unbalanced dataset. Oversampling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43B07-855D-6D46-A0A4-B350D7438A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73B161-93D4-4215-BDE1-2E8D74BB4A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138237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E323D4-330E-4672-97EF-2CE246364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16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590013-143F-46BA-9000-8B83DE5359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8</a:t>
            </a:fld>
            <a:endParaRPr lang="pt-PT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EE9BA78-58B0-514F-A1DB-564C8DF7A6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529119" y="-1960031"/>
            <a:ext cx="6621575" cy="1191883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B4F766E-68A5-844E-9DE2-896AA190D4F2}"/>
              </a:ext>
            </a:extLst>
          </p:cNvPr>
          <p:cNvSpPr txBox="1"/>
          <p:nvPr/>
        </p:nvSpPr>
        <p:spPr>
          <a:xfrm>
            <a:off x="6385047" y="4000930"/>
            <a:ext cx="48431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ults Visualization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F54B31B-F800-AD46-9067-2257432D09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4556" y="359819"/>
            <a:ext cx="3429434" cy="4913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32A498-8DDE-4E30-9399-FEDBAB5DD7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85056" y="6450347"/>
            <a:ext cx="2029735" cy="278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11">
            <a:extLst>
              <a:ext uri="{FF2B5EF4-FFF2-40B4-BE49-F238E27FC236}">
                <a16:creationId xmlns:a16="http://schemas.microsoft.com/office/drawing/2014/main" id="{CB3DB9EC-0885-5345-BC34-170BE4D7BD7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833531" y="-5833531"/>
            <a:ext cx="524935" cy="12192000"/>
          </a:xfrm>
          <a:prstGeom prst="roundRect">
            <a:avLst>
              <a:gd name="adj" fmla="val 1722"/>
            </a:avLst>
          </a:prstGeom>
          <a:solidFill>
            <a:srgbClr val="FADD0B"/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pt-PT" sz="2177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F91BB8-65D6-3E4E-97CC-DFD072F93063}"/>
              </a:ext>
            </a:extLst>
          </p:cNvPr>
          <p:cNvSpPr txBox="1"/>
          <p:nvPr/>
        </p:nvSpPr>
        <p:spPr>
          <a:xfrm>
            <a:off x="1343537" y="956371"/>
            <a:ext cx="8049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dom Forest Baseline Mod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5CCFD0-F6F7-064E-B6B1-62DBB682B166}"/>
              </a:ext>
            </a:extLst>
          </p:cNvPr>
          <p:cNvSpPr/>
          <p:nvPr/>
        </p:nvSpPr>
        <p:spPr>
          <a:xfrm>
            <a:off x="1443024" y="2404399"/>
            <a:ext cx="10141317" cy="58477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usion Matrix                                                    ROC-AUC Curve</a:t>
            </a:r>
          </a:p>
          <a:p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DA3C400-63CD-254B-813B-599A2144F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5056" y="6535411"/>
            <a:ext cx="2029735" cy="2789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B9DC020-69B2-114B-8755-794634AB5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606" y="157800"/>
            <a:ext cx="1864784" cy="26719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EFFC01-B1C1-40E7-B590-1ACD77F4D5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2E9D5-D294-4D8D-8AEA-0921797D1B1E}" type="slidenum">
              <a:rPr lang="pt-PT" smtClean="0"/>
              <a:t>9</a:t>
            </a:fld>
            <a:endParaRPr lang="pt-PT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58AD771E-23F6-4246-91A2-5470A9B7D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1937" y="2847756"/>
            <a:ext cx="4872476" cy="343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7DD60A87-DA1F-42D6-842E-6FC4B255B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68" y="2847756"/>
            <a:ext cx="3949550" cy="324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25368EF-6C11-41FB-BB28-ED1F156F57F8}"/>
              </a:ext>
            </a:extLst>
          </p:cNvPr>
          <p:cNvCxnSpPr>
            <a:cxnSpLocks/>
          </p:cNvCxnSpPr>
          <p:nvPr/>
        </p:nvCxnSpPr>
        <p:spPr>
          <a:xfrm flipV="1">
            <a:off x="834501" y="5592933"/>
            <a:ext cx="394859" cy="4273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8D385B98-F02C-499F-97F9-5553B4183B72}"/>
              </a:ext>
            </a:extLst>
          </p:cNvPr>
          <p:cNvSpPr/>
          <p:nvPr/>
        </p:nvSpPr>
        <p:spPr>
          <a:xfrm>
            <a:off x="203200" y="6077778"/>
            <a:ext cx="10141317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pt-PT" sz="20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lang="en-US" sz="2000" dirty="0">
                <a:solidFill>
                  <a:schemeClr val="tx1">
                    <a:alpha val="6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 worse error is mitigated</a:t>
            </a:r>
            <a:endParaRPr lang="en-US" sz="1200" dirty="0">
              <a:solidFill>
                <a:schemeClr val="tx1">
                  <a:alpha val="6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613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qYSNRjIJGg5G4peux9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5</TotalTime>
  <Words>682</Words>
  <Application>Microsoft Office PowerPoint</Application>
  <PresentationFormat>Widescreen</PresentationFormat>
  <Paragraphs>159</Paragraphs>
  <Slides>2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-apple-system</vt:lpstr>
      <vt:lpstr>Arial</vt:lpstr>
      <vt:lpstr>Calibri</vt:lpstr>
      <vt:lpstr>Calibri Light</vt:lpstr>
      <vt:lpstr>Verdana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Cristina Buco</dc:creator>
  <cp:lastModifiedBy>OfficeLicense</cp:lastModifiedBy>
  <cp:revision>71</cp:revision>
  <dcterms:created xsi:type="dcterms:W3CDTF">2019-10-23T14:42:39Z</dcterms:created>
  <dcterms:modified xsi:type="dcterms:W3CDTF">2019-11-09T18:24:42Z</dcterms:modified>
</cp:coreProperties>
</file>